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5" Type="http://schemas.openxmlformats.org/officeDocument/2006/relationships/custom-properties" Target="docProps/custom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59" r:id="rId2"/>
    <p:sldId id="306" r:id="rId3"/>
  </p:sldIdLst>
  <p:sldSz cx="12192000" cy="6858000"/>
  <p:notesSz cx="6858000" cy="9144000"/>
  <p:defaultTextStyle>
    <a:defPPr>
      <a:defRPr lang="en-I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6327"/>
  </p:normalViewPr>
  <p:slideViewPr>
    <p:cSldViewPr snapToGrid="0">
      <p:cViewPr varScale="1">
        <p:scale>
          <a:sx n="128" d="100"/>
          <a:sy n="128" d="100"/>
        </p:scale>
        <p:origin x="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 /><Relationship Id="rId3" Type="http://schemas.openxmlformats.org/officeDocument/2006/relationships/slide" Target="slides/slide2.xml" /><Relationship Id="rId7" Type="http://schemas.openxmlformats.org/officeDocument/2006/relationships/theme" Target="theme/theme1.xml" /><Relationship Id="rId2" Type="http://schemas.openxmlformats.org/officeDocument/2006/relationships/slide" Target="slides/slide1.xml" /><Relationship Id="rId1" Type="http://schemas.openxmlformats.org/officeDocument/2006/relationships/slideMaster" Target="slideMasters/slideMaster1.xml" /><Relationship Id="rId6" Type="http://schemas.openxmlformats.org/officeDocument/2006/relationships/viewProps" Target="viewProps.xml" /><Relationship Id="rId5" Type="http://schemas.openxmlformats.org/officeDocument/2006/relationships/presProps" Target="presProps.xml" /><Relationship Id="rId4" Type="http://schemas.openxmlformats.org/officeDocument/2006/relationships/notesMaster" Target="notesMasters/notesMaster1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3A99A-82AF-6E4D-88AD-9491BCF5F3D0}" type="datetimeFigureOut">
              <a:rPr lang="en-US" smtClean="0"/>
              <a:t>12/2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A3186D-FCE6-7D4F-A5BE-625AE88E51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963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r" defTabSz="914400" rtl="1" eaLnBrk="1" latinLnBrk="0" hangingPunct="1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835C78-ECE2-6743-9C91-B2100337DD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6902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8" name="Shape 2948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6013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949" name="Shape 2949"/>
          <p:cNvSpPr txBox="1">
            <a:spLocks noGrp="1"/>
          </p:cNvSpPr>
          <p:nvPr>
            <p:ph type="body" idx="1"/>
          </p:nvPr>
        </p:nvSpPr>
        <p:spPr>
          <a:xfrm>
            <a:off x="701039" y="4415789"/>
            <a:ext cx="5608200" cy="4183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dk1"/>
              </a:buClr>
              <a:buSzPct val="250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50" name="Shape 2950"/>
          <p:cNvSpPr txBox="1">
            <a:spLocks noGrp="1"/>
          </p:cNvSpPr>
          <p:nvPr>
            <p:ph type="sldNum" idx="12"/>
          </p:nvPr>
        </p:nvSpPr>
        <p:spPr>
          <a:xfrm>
            <a:off x="3970937" y="8829967"/>
            <a:ext cx="3037799" cy="46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3716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828800" marR="0" lvl="4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2286000" marR="0" lvl="5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2743200" marR="0" lvl="6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3200400" marR="0" lvl="7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365760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948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2F734-4832-B842-9480-1836EDB54D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0FAAA4-85F0-9841-8518-BC114BA6FC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DEF808-E647-A64D-A261-FF76017C81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37664D-1E46-484D-96E8-A238A24C8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9A3397-3FA2-E94D-82AC-C51F1B10B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682501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DAC32-94C9-0549-A3DA-CA08962B7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D90B3A-8C33-834F-9EBB-1B67AE0628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6D6A4E-EB74-B54A-B54C-DBF2168FF0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5648F7-B719-7044-86B1-497044212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0DD0E4-4609-4C45-B176-68FB0B9B38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77003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76AA4F5-6B98-7A4E-B377-0899E936B5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B3AD62-BEF3-1845-9349-61D7BD40B9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E608D4-06D2-6347-AD9D-05A111A1B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CA0008-4FA9-FD47-B62C-33E493679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864B47-EAA9-A24C-AE55-E29F958CA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029737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Option 3 - Titles Only No Footer"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36200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EF9BDB-454F-E04C-8E30-06A4E41CA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B7602-3B9E-B447-85A9-B1B93C7E93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FE3AB3-6AF9-AC49-A787-70E263DFC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3D17B7-AF7B-BC4B-BC1E-F1B4DD813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E8367F-BF03-1748-8FB1-2D1EF0A15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8245091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81BE9-7564-054F-8598-73A1D67FA5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7C02C9-2339-C84B-BCB4-4D2DBBC840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158A3-783E-E048-9280-D6D2B2229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206EB7-7A7B-174A-AA1F-5C19719F5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49AE9A-B68C-E843-BC60-D94D9807D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16972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3559C2-E1BB-DC40-B9DD-B2E53BDD9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9265B4-6DC2-4341-94CD-2277A4CDE0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5B6A9C-EF62-1F47-B970-2868B2149A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927AE5-5042-854D-903E-15E23B59D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484EB8-324D-BE46-B650-D5F766A7E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D1C4FC-36C0-B141-AAA8-92711A6C5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706848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589F8-654F-D242-8E48-73D0E2021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F21196-2C08-8A4E-BA5F-3114E5EB4F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2205E4-FF4A-0244-9B6F-F998B004D3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FBA8E1-2E9F-6A46-A539-2CD09E5DB1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EE3DC2-EED2-F246-AA72-31E56120DEA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97E3BCA-E358-EE42-8C07-AE15A8E1A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9B313A-1945-CD47-A615-B317DE789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6060C18-C833-4F44-97E9-FC222E33D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3885986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5501D-4B08-2848-9E8E-D278F0BFB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71C966-D627-2D44-9C92-97878635C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DDC67D-E5BB-9B47-8842-60768A752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E93C01-6E42-544A-A933-1F9C94055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686759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F203B1-0DB9-3C40-89BD-816E34619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500465-A8F5-7749-8252-21A2630883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E51380-4968-6B4F-9B5C-2FB2C555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774624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08BC5-7E8C-194C-8D2A-64C339825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E55A0C-32BF-234F-A54B-85066669F4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4F3D5D-0636-E74D-88EE-BE21725010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05C3CE-25EA-BA4F-93B5-228B1D3F21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2E9F9F-DBCB-7A4C-A482-D131D5A22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247C2E-87CC-884F-8501-311B17833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212105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54728-3D15-E742-AAF7-14C8663E5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01409F-1C02-5E4F-B476-3C97AF14B9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93557F-FEC0-B64F-B601-0FF0EBC6F8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812977-52F1-9C49-8D22-780311DAA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E7607B-3EEA-2944-A589-035584B27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A81A65-ADC2-4B48-A349-0ED774A3E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947103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theme" Target="../theme/theme1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image" Target="../media/image1.emf" /><Relationship Id="rId2" Type="http://schemas.openxmlformats.org/officeDocument/2006/relationships/slideLayout" Target="../slideLayouts/slideLayout2.xml" /><Relationship Id="rId16" Type="http://schemas.openxmlformats.org/officeDocument/2006/relationships/oleObject" Target="../embeddings/oleObject1.bin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tags" Target="../tags/tag1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vmlDrawing" Target="../drawings/vmlDrawing1.v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0B5165-7DE7-172B-6074-06655796D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910610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0B5165-7DE7-172B-6074-06655796D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000F0B-37F9-3E45-82A9-14A6786D4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F28426-A637-AF43-8E66-63AF61597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6C3FAE-F449-C546-860B-B62EB3793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6C4C96-1A3B-C84C-AF97-C833323093C5}" type="datetimeFigureOut">
              <a:rPr lang="en-IL" smtClean="0"/>
              <a:t>12/24/2022</a:t>
            </a:fld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2B8DF-5E1D-AE4D-85DE-9854080383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3B2B9-2E46-D646-92E9-A44FD9A318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D7F59-FDCF-7340-9C5D-E150FA9CF97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4121684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 /><Relationship Id="rId13" Type="http://schemas.openxmlformats.org/officeDocument/2006/relationships/image" Target="../media/image9.png" /><Relationship Id="rId3" Type="http://schemas.openxmlformats.org/officeDocument/2006/relationships/slideLayout" Target="../slideLayouts/slideLayout2.xml" /><Relationship Id="rId7" Type="http://schemas.openxmlformats.org/officeDocument/2006/relationships/image" Target="../media/image3.png" /><Relationship Id="rId12" Type="http://schemas.openxmlformats.org/officeDocument/2006/relationships/image" Target="../media/image8.png" /><Relationship Id="rId2" Type="http://schemas.openxmlformats.org/officeDocument/2006/relationships/tags" Target="../tags/tag2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2.emf" /><Relationship Id="rId11" Type="http://schemas.openxmlformats.org/officeDocument/2006/relationships/image" Target="../media/image7.png" /><Relationship Id="rId5" Type="http://schemas.openxmlformats.org/officeDocument/2006/relationships/oleObject" Target="../embeddings/oleObject2.bin" /><Relationship Id="rId15" Type="http://schemas.openxmlformats.org/officeDocument/2006/relationships/image" Target="../media/image11.png" /><Relationship Id="rId10" Type="http://schemas.openxmlformats.org/officeDocument/2006/relationships/image" Target="../media/image6.png" /><Relationship Id="rId4" Type="http://schemas.openxmlformats.org/officeDocument/2006/relationships/notesSlide" Target="../notesSlides/notesSlide1.xml" /><Relationship Id="rId9" Type="http://schemas.openxmlformats.org/officeDocument/2006/relationships/image" Target="../media/image5.emf" /><Relationship Id="rId14" Type="http://schemas.openxmlformats.org/officeDocument/2006/relationships/image" Target="../media/image10.png" 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 /><Relationship Id="rId13" Type="http://schemas.openxmlformats.org/officeDocument/2006/relationships/image" Target="../media/image19.png" /><Relationship Id="rId3" Type="http://schemas.openxmlformats.org/officeDocument/2006/relationships/image" Target="../media/image12.png" /><Relationship Id="rId7" Type="http://schemas.openxmlformats.org/officeDocument/2006/relationships/image" Target="../media/image15.png" /><Relationship Id="rId12" Type="http://schemas.openxmlformats.org/officeDocument/2006/relationships/image" Target="../media/image18.png" /><Relationship Id="rId17" Type="http://schemas.openxmlformats.org/officeDocument/2006/relationships/image" Target="../media/image22.png" /><Relationship Id="rId2" Type="http://schemas.openxmlformats.org/officeDocument/2006/relationships/notesSlide" Target="../notesSlides/notesSlide2.xml" /><Relationship Id="rId16" Type="http://schemas.openxmlformats.org/officeDocument/2006/relationships/image" Target="../media/image5.emf" /><Relationship Id="rId1" Type="http://schemas.openxmlformats.org/officeDocument/2006/relationships/slideLayout" Target="../slideLayouts/slideLayout12.xml" /><Relationship Id="rId6" Type="http://schemas.openxmlformats.org/officeDocument/2006/relationships/image" Target="../media/image9.png" /><Relationship Id="rId11" Type="http://schemas.openxmlformats.org/officeDocument/2006/relationships/image" Target="../media/image17.png" /><Relationship Id="rId5" Type="http://schemas.openxmlformats.org/officeDocument/2006/relationships/image" Target="../media/image14.png" /><Relationship Id="rId15" Type="http://schemas.openxmlformats.org/officeDocument/2006/relationships/image" Target="../media/image21.png" /><Relationship Id="rId10" Type="http://schemas.openxmlformats.org/officeDocument/2006/relationships/image" Target="../media/image16.png" /><Relationship Id="rId4" Type="http://schemas.openxmlformats.org/officeDocument/2006/relationships/image" Target="../media/image13.png" /><Relationship Id="rId9" Type="http://schemas.openxmlformats.org/officeDocument/2006/relationships/image" Target="../media/image11.png" /><Relationship Id="rId14" Type="http://schemas.openxmlformats.org/officeDocument/2006/relationships/image" Target="../media/image20.pn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D90908E7-B37E-DF37-DA52-C420E4CD59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D90908E7-B37E-DF37-DA52-C420E4CD59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F69A6C0-B873-844E-B754-43D281E25E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355788" y="1594086"/>
            <a:ext cx="10092615" cy="5054964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2071F-F2E0-0345-B01F-4710D69BBB97}"/>
              </a:ext>
            </a:extLst>
          </p:cNvPr>
          <p:cNvSpPr txBox="1"/>
          <p:nvPr/>
        </p:nvSpPr>
        <p:spPr>
          <a:xfrm>
            <a:off x="2246015" y="4478298"/>
            <a:ext cx="19511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חווה ״שחורה״ שקמה״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277D188-AC46-7C44-84F5-80FFD138DDA9}"/>
              </a:ext>
            </a:extLst>
          </p:cNvPr>
          <p:cNvGrpSpPr>
            <a:grpSpLocks noChangeAspect="1"/>
          </p:cNvGrpSpPr>
          <p:nvPr/>
        </p:nvGrpSpPr>
        <p:grpSpPr>
          <a:xfrm>
            <a:off x="2246015" y="2959526"/>
            <a:ext cx="862436" cy="863235"/>
            <a:chOff x="5273802" y="2606040"/>
            <a:chExt cx="1644396" cy="1645920"/>
          </a:xfrm>
        </p:grpSpPr>
        <p:sp>
          <p:nvSpPr>
            <p:cNvPr id="7" name="AutoShape 13">
              <a:extLst>
                <a:ext uri="{FF2B5EF4-FFF2-40B4-BE49-F238E27FC236}">
                  <a16:creationId xmlns:a16="http://schemas.microsoft.com/office/drawing/2014/main" id="{CCD68B4F-3EAC-E644-9733-7B7CA281FF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2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33C2C48-35EE-5646-832B-0B654F8916A7}"/>
                </a:ext>
              </a:extLst>
            </p:cNvPr>
            <p:cNvGrpSpPr/>
            <p:nvPr/>
          </p:nvGrpSpPr>
          <p:grpSpPr>
            <a:xfrm>
              <a:off x="5452110" y="2803779"/>
              <a:ext cx="1288923" cy="1200912"/>
              <a:chOff x="5452110" y="2803779"/>
              <a:chExt cx="1288923" cy="1200912"/>
            </a:xfrm>
          </p:grpSpPr>
          <p:sp>
            <p:nvSpPr>
              <p:cNvPr id="9" name="Freeform 15">
                <a:extLst>
                  <a:ext uri="{FF2B5EF4-FFF2-40B4-BE49-F238E27FC236}">
                    <a16:creationId xmlns:a16="http://schemas.microsoft.com/office/drawing/2014/main" id="{F705FA9A-AEFF-794F-9245-DC1ECE8C2E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59196" y="2803779"/>
                <a:ext cx="675132" cy="1200912"/>
              </a:xfrm>
              <a:custGeom>
                <a:avLst/>
                <a:gdLst>
                  <a:gd name="T0" fmla="*/ 928 w 946"/>
                  <a:gd name="T1" fmla="*/ 647 h 1681"/>
                  <a:gd name="T2" fmla="*/ 928 w 946"/>
                  <a:gd name="T3" fmla="*/ 646 h 1681"/>
                  <a:gd name="T4" fmla="*/ 874 w 946"/>
                  <a:gd name="T5" fmla="*/ 722 h 1681"/>
                  <a:gd name="T6" fmla="*/ 840 w 946"/>
                  <a:gd name="T7" fmla="*/ 722 h 1681"/>
                  <a:gd name="T8" fmla="*/ 835 w 946"/>
                  <a:gd name="T9" fmla="*/ 366 h 1681"/>
                  <a:gd name="T10" fmla="*/ 214 w 946"/>
                  <a:gd name="T11" fmla="*/ 388 h 1681"/>
                  <a:gd name="T12" fmla="*/ 98 w 946"/>
                  <a:gd name="T13" fmla="*/ 716 h 1681"/>
                  <a:gd name="T14" fmla="*/ 67 w 946"/>
                  <a:gd name="T15" fmla="*/ 713 h 1681"/>
                  <a:gd name="T16" fmla="*/ 20 w 946"/>
                  <a:gd name="T17" fmla="*/ 653 h 1681"/>
                  <a:gd name="T18" fmla="*/ 20 w 946"/>
                  <a:gd name="T19" fmla="*/ 652 h 1681"/>
                  <a:gd name="T20" fmla="*/ 1 w 946"/>
                  <a:gd name="T21" fmla="*/ 483 h 1681"/>
                  <a:gd name="T22" fmla="*/ 473 w 946"/>
                  <a:gd name="T23" fmla="*/ 0 h 1681"/>
                  <a:gd name="T24" fmla="*/ 945 w 946"/>
                  <a:gd name="T25" fmla="*/ 483 h 1681"/>
                  <a:gd name="T26" fmla="*/ 928 w 946"/>
                  <a:gd name="T27" fmla="*/ 647 h 1681"/>
                  <a:gd name="T28" fmla="*/ 583 w 946"/>
                  <a:gd name="T29" fmla="*/ 1667 h 1681"/>
                  <a:gd name="T30" fmla="*/ 514 w 946"/>
                  <a:gd name="T31" fmla="*/ 1465 h 1681"/>
                  <a:gd name="T32" fmla="*/ 515 w 946"/>
                  <a:gd name="T33" fmla="*/ 1457 h 1681"/>
                  <a:gd name="T34" fmla="*/ 579 w 946"/>
                  <a:gd name="T35" fmla="*/ 1356 h 1681"/>
                  <a:gd name="T36" fmla="*/ 573 w 946"/>
                  <a:gd name="T37" fmla="*/ 1342 h 1681"/>
                  <a:gd name="T38" fmla="*/ 476 w 946"/>
                  <a:gd name="T39" fmla="*/ 1329 h 1681"/>
                  <a:gd name="T40" fmla="*/ 374 w 946"/>
                  <a:gd name="T41" fmla="*/ 1342 h 1681"/>
                  <a:gd name="T42" fmla="*/ 368 w 946"/>
                  <a:gd name="T43" fmla="*/ 1357 h 1681"/>
                  <a:gd name="T44" fmla="*/ 432 w 946"/>
                  <a:gd name="T45" fmla="*/ 1457 h 1681"/>
                  <a:gd name="T46" fmla="*/ 433 w 946"/>
                  <a:gd name="T47" fmla="*/ 1465 h 1681"/>
                  <a:gd name="T48" fmla="*/ 358 w 946"/>
                  <a:gd name="T49" fmla="*/ 1667 h 1681"/>
                  <a:gd name="T50" fmla="*/ 368 w 946"/>
                  <a:gd name="T51" fmla="*/ 1681 h 1681"/>
                  <a:gd name="T52" fmla="*/ 574 w 946"/>
                  <a:gd name="T53" fmla="*/ 1681 h 1681"/>
                  <a:gd name="T54" fmla="*/ 583 w 946"/>
                  <a:gd name="T55" fmla="*/ 1667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681">
                    <a:moveTo>
                      <a:pt x="928" y="647"/>
                    </a:moveTo>
                    <a:cubicBezTo>
                      <a:pt x="928" y="647"/>
                      <a:pt x="928" y="647"/>
                      <a:pt x="928" y="646"/>
                    </a:cubicBezTo>
                    <a:cubicBezTo>
                      <a:pt x="926" y="647"/>
                      <a:pt x="919" y="672"/>
                      <a:pt x="874" y="722"/>
                    </a:cubicBezTo>
                    <a:cubicBezTo>
                      <a:pt x="874" y="722"/>
                      <a:pt x="874" y="722"/>
                      <a:pt x="840" y="722"/>
                    </a:cubicBezTo>
                    <a:cubicBezTo>
                      <a:pt x="840" y="722"/>
                      <a:pt x="840" y="704"/>
                      <a:pt x="835" y="366"/>
                    </a:cubicBezTo>
                    <a:cubicBezTo>
                      <a:pt x="782" y="637"/>
                      <a:pt x="214" y="388"/>
                      <a:pt x="214" y="388"/>
                    </a:cubicBezTo>
                    <a:cubicBezTo>
                      <a:pt x="73" y="431"/>
                      <a:pt x="98" y="716"/>
                      <a:pt x="98" y="716"/>
                    </a:cubicBezTo>
                    <a:cubicBezTo>
                      <a:pt x="98" y="716"/>
                      <a:pt x="98" y="716"/>
                      <a:pt x="67" y="713"/>
                    </a:cubicBezTo>
                    <a:cubicBezTo>
                      <a:pt x="67" y="713"/>
                      <a:pt x="67" y="695"/>
                      <a:pt x="20" y="653"/>
                    </a:cubicBezTo>
                    <a:cubicBezTo>
                      <a:pt x="20" y="653"/>
                      <a:pt x="20" y="652"/>
                      <a:pt x="20" y="652"/>
                    </a:cubicBezTo>
                    <a:cubicBezTo>
                      <a:pt x="0" y="600"/>
                      <a:pt x="1" y="543"/>
                      <a:pt x="1" y="483"/>
                    </a:cubicBezTo>
                    <a:cubicBezTo>
                      <a:pt x="1" y="216"/>
                      <a:pt x="206" y="0"/>
                      <a:pt x="473" y="0"/>
                    </a:cubicBezTo>
                    <a:cubicBezTo>
                      <a:pt x="740" y="0"/>
                      <a:pt x="945" y="216"/>
                      <a:pt x="945" y="483"/>
                    </a:cubicBezTo>
                    <a:cubicBezTo>
                      <a:pt x="945" y="541"/>
                      <a:pt x="946" y="596"/>
                      <a:pt x="928" y="647"/>
                    </a:cubicBezTo>
                    <a:close/>
                    <a:moveTo>
                      <a:pt x="583" y="1667"/>
                    </a:moveTo>
                    <a:cubicBezTo>
                      <a:pt x="514" y="1465"/>
                      <a:pt x="514" y="1465"/>
                      <a:pt x="514" y="1465"/>
                    </a:cubicBezTo>
                    <a:cubicBezTo>
                      <a:pt x="513" y="1462"/>
                      <a:pt x="514" y="1459"/>
                      <a:pt x="515" y="1457"/>
                    </a:cubicBezTo>
                    <a:cubicBezTo>
                      <a:pt x="579" y="1356"/>
                      <a:pt x="579" y="1356"/>
                      <a:pt x="579" y="1356"/>
                    </a:cubicBezTo>
                    <a:cubicBezTo>
                      <a:pt x="582" y="1351"/>
                      <a:pt x="579" y="1344"/>
                      <a:pt x="573" y="1342"/>
                    </a:cubicBezTo>
                    <a:cubicBezTo>
                      <a:pt x="552" y="1337"/>
                      <a:pt x="510" y="1329"/>
                      <a:pt x="476" y="1329"/>
                    </a:cubicBezTo>
                    <a:cubicBezTo>
                      <a:pt x="442" y="1329"/>
                      <a:pt x="396" y="1338"/>
                      <a:pt x="374" y="1342"/>
                    </a:cubicBezTo>
                    <a:cubicBezTo>
                      <a:pt x="368" y="1344"/>
                      <a:pt x="365" y="1351"/>
                      <a:pt x="368" y="1357"/>
                    </a:cubicBezTo>
                    <a:cubicBezTo>
                      <a:pt x="432" y="1457"/>
                      <a:pt x="432" y="1457"/>
                      <a:pt x="432" y="1457"/>
                    </a:cubicBezTo>
                    <a:cubicBezTo>
                      <a:pt x="433" y="1460"/>
                      <a:pt x="434" y="1463"/>
                      <a:pt x="433" y="1465"/>
                    </a:cubicBezTo>
                    <a:cubicBezTo>
                      <a:pt x="358" y="1667"/>
                      <a:pt x="358" y="1667"/>
                      <a:pt x="358" y="1667"/>
                    </a:cubicBezTo>
                    <a:cubicBezTo>
                      <a:pt x="356" y="1674"/>
                      <a:pt x="361" y="1681"/>
                      <a:pt x="368" y="1681"/>
                    </a:cubicBezTo>
                    <a:cubicBezTo>
                      <a:pt x="574" y="1681"/>
                      <a:pt x="574" y="1681"/>
                      <a:pt x="574" y="1681"/>
                    </a:cubicBezTo>
                    <a:cubicBezTo>
                      <a:pt x="581" y="1681"/>
                      <a:pt x="585" y="1674"/>
                      <a:pt x="583" y="166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 16">
                <a:extLst>
                  <a:ext uri="{FF2B5EF4-FFF2-40B4-BE49-F238E27FC236}">
                    <a16:creationId xmlns:a16="http://schemas.microsoft.com/office/drawing/2014/main" id="{F853E7BB-04EA-6546-9EE7-5657874EBA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2110" y="3318129"/>
                <a:ext cx="1288923" cy="686562"/>
              </a:xfrm>
              <a:custGeom>
                <a:avLst/>
                <a:gdLst>
                  <a:gd name="T0" fmla="*/ 26 w 1806"/>
                  <a:gd name="T1" fmla="*/ 961 h 961"/>
                  <a:gd name="T2" fmla="*/ 5 w 1806"/>
                  <a:gd name="T3" fmla="*/ 931 h 961"/>
                  <a:gd name="T4" fmla="*/ 223 w 1806"/>
                  <a:gd name="T5" fmla="*/ 614 h 961"/>
                  <a:gd name="T6" fmla="*/ 602 w 1806"/>
                  <a:gd name="T7" fmla="*/ 548 h 961"/>
                  <a:gd name="T8" fmla="*/ 612 w 1806"/>
                  <a:gd name="T9" fmla="*/ 555 h 961"/>
                  <a:gd name="T10" fmla="*/ 703 w 1806"/>
                  <a:gd name="T11" fmla="*/ 948 h 961"/>
                  <a:gd name="T12" fmla="*/ 693 w 1806"/>
                  <a:gd name="T13" fmla="*/ 961 h 961"/>
                  <a:gd name="T14" fmla="*/ 26 w 1806"/>
                  <a:gd name="T15" fmla="*/ 961 h 961"/>
                  <a:gd name="T16" fmla="*/ 1780 w 1806"/>
                  <a:gd name="T17" fmla="*/ 961 h 961"/>
                  <a:gd name="T18" fmla="*/ 1801 w 1806"/>
                  <a:gd name="T19" fmla="*/ 931 h 961"/>
                  <a:gd name="T20" fmla="*/ 1583 w 1806"/>
                  <a:gd name="T21" fmla="*/ 614 h 961"/>
                  <a:gd name="T22" fmla="*/ 1204 w 1806"/>
                  <a:gd name="T23" fmla="*/ 548 h 961"/>
                  <a:gd name="T24" fmla="*/ 1194 w 1806"/>
                  <a:gd name="T25" fmla="*/ 555 h 961"/>
                  <a:gd name="T26" fmla="*/ 1103 w 1806"/>
                  <a:gd name="T27" fmla="*/ 948 h 961"/>
                  <a:gd name="T28" fmla="*/ 1113 w 1806"/>
                  <a:gd name="T29" fmla="*/ 961 h 961"/>
                  <a:gd name="T30" fmla="*/ 1780 w 1806"/>
                  <a:gd name="T31" fmla="*/ 961 h 961"/>
                  <a:gd name="T32" fmla="*/ 1329 w 1806"/>
                  <a:gd name="T33" fmla="*/ 24 h 961"/>
                  <a:gd name="T34" fmla="*/ 1283 w 1806"/>
                  <a:gd name="T35" fmla="*/ 77 h 961"/>
                  <a:gd name="T36" fmla="*/ 1273 w 1806"/>
                  <a:gd name="T37" fmla="*/ 89 h 961"/>
                  <a:gd name="T38" fmla="*/ 1129 w 1806"/>
                  <a:gd name="T39" fmla="*/ 391 h 961"/>
                  <a:gd name="T40" fmla="*/ 903 w 1806"/>
                  <a:gd name="T41" fmla="*/ 504 h 961"/>
                  <a:gd name="T42" fmla="*/ 677 w 1806"/>
                  <a:gd name="T43" fmla="*/ 391 h 961"/>
                  <a:gd name="T44" fmla="*/ 533 w 1806"/>
                  <a:gd name="T45" fmla="*/ 89 h 961"/>
                  <a:gd name="T46" fmla="*/ 523 w 1806"/>
                  <a:gd name="T47" fmla="*/ 77 h 961"/>
                  <a:gd name="T48" fmla="*/ 477 w 1806"/>
                  <a:gd name="T49" fmla="*/ 24 h 961"/>
                  <a:gd name="T50" fmla="*/ 426 w 1806"/>
                  <a:gd name="T51" fmla="*/ 0 h 961"/>
                  <a:gd name="T52" fmla="*/ 426 w 1806"/>
                  <a:gd name="T53" fmla="*/ 5 h 961"/>
                  <a:gd name="T54" fmla="*/ 495 w 1806"/>
                  <a:gd name="T55" fmla="*/ 112 h 961"/>
                  <a:gd name="T56" fmla="*/ 639 w 1806"/>
                  <a:gd name="T57" fmla="*/ 414 h 961"/>
                  <a:gd name="T58" fmla="*/ 639 w 1806"/>
                  <a:gd name="T59" fmla="*/ 512 h 961"/>
                  <a:gd name="T60" fmla="*/ 646 w 1806"/>
                  <a:gd name="T61" fmla="*/ 522 h 961"/>
                  <a:gd name="T62" fmla="*/ 683 w 1806"/>
                  <a:gd name="T63" fmla="*/ 560 h 961"/>
                  <a:gd name="T64" fmla="*/ 683 w 1806"/>
                  <a:gd name="T65" fmla="*/ 451 h 961"/>
                  <a:gd name="T66" fmla="*/ 903 w 1806"/>
                  <a:gd name="T67" fmla="*/ 548 h 961"/>
                  <a:gd name="T68" fmla="*/ 1123 w 1806"/>
                  <a:gd name="T69" fmla="*/ 451 h 961"/>
                  <a:gd name="T70" fmla="*/ 1123 w 1806"/>
                  <a:gd name="T71" fmla="*/ 560 h 961"/>
                  <a:gd name="T72" fmla="*/ 1160 w 1806"/>
                  <a:gd name="T73" fmla="*/ 522 h 961"/>
                  <a:gd name="T74" fmla="*/ 1167 w 1806"/>
                  <a:gd name="T75" fmla="*/ 512 h 961"/>
                  <a:gd name="T76" fmla="*/ 1167 w 1806"/>
                  <a:gd name="T77" fmla="*/ 414 h 961"/>
                  <a:gd name="T78" fmla="*/ 1311 w 1806"/>
                  <a:gd name="T79" fmla="*/ 112 h 961"/>
                  <a:gd name="T80" fmla="*/ 1380 w 1806"/>
                  <a:gd name="T81" fmla="*/ 3 h 961"/>
                  <a:gd name="T82" fmla="*/ 1380 w 1806"/>
                  <a:gd name="T83" fmla="*/ 0 h 961"/>
                  <a:gd name="T84" fmla="*/ 1329 w 1806"/>
                  <a:gd name="T85" fmla="*/ 24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06" h="961">
                    <a:moveTo>
                      <a:pt x="26" y="961"/>
                    </a:moveTo>
                    <a:cubicBezTo>
                      <a:pt x="10" y="961"/>
                      <a:pt x="0" y="945"/>
                      <a:pt x="5" y="931"/>
                    </a:cubicBezTo>
                    <a:cubicBezTo>
                      <a:pt x="33" y="857"/>
                      <a:pt x="113" y="664"/>
                      <a:pt x="223" y="614"/>
                    </a:cubicBezTo>
                    <a:cubicBezTo>
                      <a:pt x="344" y="557"/>
                      <a:pt x="558" y="549"/>
                      <a:pt x="602" y="548"/>
                    </a:cubicBezTo>
                    <a:cubicBezTo>
                      <a:pt x="607" y="548"/>
                      <a:pt x="611" y="551"/>
                      <a:pt x="612" y="555"/>
                    </a:cubicBezTo>
                    <a:cubicBezTo>
                      <a:pt x="703" y="948"/>
                      <a:pt x="703" y="948"/>
                      <a:pt x="703" y="948"/>
                    </a:cubicBezTo>
                    <a:cubicBezTo>
                      <a:pt x="704" y="955"/>
                      <a:pt x="700" y="961"/>
                      <a:pt x="693" y="961"/>
                    </a:cubicBezTo>
                    <a:lnTo>
                      <a:pt x="26" y="961"/>
                    </a:lnTo>
                    <a:close/>
                    <a:moveTo>
                      <a:pt x="1780" y="961"/>
                    </a:moveTo>
                    <a:cubicBezTo>
                      <a:pt x="1796" y="961"/>
                      <a:pt x="1806" y="945"/>
                      <a:pt x="1801" y="931"/>
                    </a:cubicBezTo>
                    <a:cubicBezTo>
                      <a:pt x="1773" y="857"/>
                      <a:pt x="1693" y="664"/>
                      <a:pt x="1583" y="614"/>
                    </a:cubicBezTo>
                    <a:cubicBezTo>
                      <a:pt x="1462" y="557"/>
                      <a:pt x="1248" y="549"/>
                      <a:pt x="1204" y="548"/>
                    </a:cubicBezTo>
                    <a:cubicBezTo>
                      <a:pt x="1199" y="548"/>
                      <a:pt x="1195" y="551"/>
                      <a:pt x="1194" y="555"/>
                    </a:cubicBezTo>
                    <a:cubicBezTo>
                      <a:pt x="1103" y="948"/>
                      <a:pt x="1103" y="948"/>
                      <a:pt x="1103" y="948"/>
                    </a:cubicBezTo>
                    <a:cubicBezTo>
                      <a:pt x="1102" y="955"/>
                      <a:pt x="1106" y="961"/>
                      <a:pt x="1113" y="961"/>
                    </a:cubicBezTo>
                    <a:lnTo>
                      <a:pt x="1780" y="961"/>
                    </a:lnTo>
                    <a:close/>
                    <a:moveTo>
                      <a:pt x="1329" y="24"/>
                    </a:moveTo>
                    <a:cubicBezTo>
                      <a:pt x="1322" y="43"/>
                      <a:pt x="1308" y="65"/>
                      <a:pt x="1283" y="77"/>
                    </a:cubicBezTo>
                    <a:cubicBezTo>
                      <a:pt x="1278" y="80"/>
                      <a:pt x="1274" y="84"/>
                      <a:pt x="1273" y="89"/>
                    </a:cubicBezTo>
                    <a:cubicBezTo>
                      <a:pt x="1232" y="192"/>
                      <a:pt x="1157" y="365"/>
                      <a:pt x="1129" y="391"/>
                    </a:cubicBezTo>
                    <a:cubicBezTo>
                      <a:pt x="1084" y="430"/>
                      <a:pt x="968" y="504"/>
                      <a:pt x="903" y="504"/>
                    </a:cubicBezTo>
                    <a:cubicBezTo>
                      <a:pt x="838" y="504"/>
                      <a:pt x="722" y="430"/>
                      <a:pt x="677" y="391"/>
                    </a:cubicBezTo>
                    <a:cubicBezTo>
                      <a:pt x="649" y="365"/>
                      <a:pt x="574" y="192"/>
                      <a:pt x="533" y="89"/>
                    </a:cubicBezTo>
                    <a:cubicBezTo>
                      <a:pt x="532" y="84"/>
                      <a:pt x="528" y="80"/>
                      <a:pt x="523" y="77"/>
                    </a:cubicBezTo>
                    <a:cubicBezTo>
                      <a:pt x="498" y="65"/>
                      <a:pt x="484" y="43"/>
                      <a:pt x="477" y="24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2"/>
                      <a:pt x="426" y="4"/>
                      <a:pt x="426" y="5"/>
                    </a:cubicBezTo>
                    <a:cubicBezTo>
                      <a:pt x="431" y="33"/>
                      <a:pt x="446" y="83"/>
                      <a:pt x="495" y="112"/>
                    </a:cubicBezTo>
                    <a:cubicBezTo>
                      <a:pt x="517" y="168"/>
                      <a:pt x="594" y="359"/>
                      <a:pt x="639" y="414"/>
                    </a:cubicBezTo>
                    <a:cubicBezTo>
                      <a:pt x="639" y="512"/>
                      <a:pt x="639" y="512"/>
                      <a:pt x="639" y="512"/>
                    </a:cubicBezTo>
                    <a:cubicBezTo>
                      <a:pt x="646" y="522"/>
                      <a:pt x="646" y="522"/>
                      <a:pt x="646" y="522"/>
                    </a:cubicBezTo>
                    <a:cubicBezTo>
                      <a:pt x="648" y="524"/>
                      <a:pt x="660" y="540"/>
                      <a:pt x="683" y="560"/>
                    </a:cubicBezTo>
                    <a:cubicBezTo>
                      <a:pt x="683" y="451"/>
                      <a:pt x="683" y="451"/>
                      <a:pt x="683" y="451"/>
                    </a:cubicBezTo>
                    <a:cubicBezTo>
                      <a:pt x="742" y="494"/>
                      <a:pt x="838" y="548"/>
                      <a:pt x="903" y="548"/>
                    </a:cubicBezTo>
                    <a:cubicBezTo>
                      <a:pt x="968" y="548"/>
                      <a:pt x="1064" y="494"/>
                      <a:pt x="1123" y="451"/>
                    </a:cubicBezTo>
                    <a:cubicBezTo>
                      <a:pt x="1123" y="560"/>
                      <a:pt x="1123" y="560"/>
                      <a:pt x="1123" y="560"/>
                    </a:cubicBezTo>
                    <a:cubicBezTo>
                      <a:pt x="1146" y="540"/>
                      <a:pt x="1158" y="524"/>
                      <a:pt x="1160" y="522"/>
                    </a:cubicBezTo>
                    <a:cubicBezTo>
                      <a:pt x="1167" y="512"/>
                      <a:pt x="1167" y="512"/>
                      <a:pt x="1167" y="512"/>
                    </a:cubicBezTo>
                    <a:cubicBezTo>
                      <a:pt x="1167" y="414"/>
                      <a:pt x="1167" y="414"/>
                      <a:pt x="1167" y="414"/>
                    </a:cubicBezTo>
                    <a:cubicBezTo>
                      <a:pt x="1212" y="358"/>
                      <a:pt x="1289" y="168"/>
                      <a:pt x="1311" y="112"/>
                    </a:cubicBezTo>
                    <a:cubicBezTo>
                      <a:pt x="1363" y="82"/>
                      <a:pt x="1377" y="26"/>
                      <a:pt x="1380" y="3"/>
                    </a:cubicBezTo>
                    <a:cubicBezTo>
                      <a:pt x="1380" y="2"/>
                      <a:pt x="1380" y="1"/>
                      <a:pt x="1380" y="0"/>
                    </a:cubicBezTo>
                    <a:lnTo>
                      <a:pt x="1329" y="2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9144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879D1B0-6A8A-D247-92C0-357D80A53034}"/>
              </a:ext>
            </a:extLst>
          </p:cNvPr>
          <p:cNvSpPr txBox="1"/>
          <p:nvPr/>
        </p:nvSpPr>
        <p:spPr>
          <a:xfrm>
            <a:off x="1895887" y="3828064"/>
            <a:ext cx="1388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משתמש אינטרנט</a:t>
            </a:r>
            <a:endParaRPr kumimoji="0" lang="en-I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THINCLIENT">
            <a:extLst>
              <a:ext uri="{FF2B5EF4-FFF2-40B4-BE49-F238E27FC236}">
                <a16:creationId xmlns:a16="http://schemas.microsoft.com/office/drawing/2014/main" id="{D03F18AE-0FCA-F84A-AD3D-61D9CAF02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-108976" y="4412525"/>
            <a:ext cx="1637858" cy="1091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1CD0858-E5C1-9C40-B665-7750128086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2645" y="4530914"/>
            <a:ext cx="394616" cy="450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2CB0CAE-E29D-744B-B47A-8E456E8FEA6C}"/>
              </a:ext>
            </a:extLst>
          </p:cNvPr>
          <p:cNvSpPr txBox="1"/>
          <p:nvPr/>
        </p:nvSpPr>
        <p:spPr>
          <a:xfrm>
            <a:off x="3535593" y="2929479"/>
            <a:ext cx="17972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just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קישור מאובטח ע״ג תשתית</a:t>
            </a:r>
          </a:p>
          <a:p>
            <a:pPr marL="0" marR="0" lvl="0" indent="0" algn="just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בזק לשאר המרכזים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8" descr="DGRM_Server_VMs_detail_6_VMware_Q408.png">
            <a:extLst>
              <a:ext uri="{FF2B5EF4-FFF2-40B4-BE49-F238E27FC236}">
                <a16:creationId xmlns:a16="http://schemas.microsoft.com/office/drawing/2014/main" id="{657B8BA8-3859-A04E-ACC1-82930C2826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281" y="5682503"/>
            <a:ext cx="538077" cy="47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ABC3AE8-6577-EE4B-8B56-721B2A3865F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82742" y="3312330"/>
            <a:ext cx="609600" cy="35291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ABB7EF4-67A6-0740-A3F7-3E25A3FD9864}"/>
              </a:ext>
            </a:extLst>
          </p:cNvPr>
          <p:cNvSpPr txBox="1"/>
          <p:nvPr/>
        </p:nvSpPr>
        <p:spPr>
          <a:xfrm>
            <a:off x="-36374" y="5461780"/>
            <a:ext cx="14926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לקוח רזה לעבודה במרכזים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Shape 2762" descr="Monitoring_256px.png">
            <a:extLst>
              <a:ext uri="{FF2B5EF4-FFF2-40B4-BE49-F238E27FC236}">
                <a16:creationId xmlns:a16="http://schemas.microsoft.com/office/drawing/2014/main" id="{6DFC43FB-A03E-E04B-B763-4FC5335516B3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 t="5076" b="5076"/>
          <a:stretch/>
        </p:blipFill>
        <p:spPr>
          <a:xfrm>
            <a:off x="8399590" y="1812817"/>
            <a:ext cx="640591" cy="46176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0A0CDD8-7F24-9046-8538-005B113108B7}"/>
              </a:ext>
            </a:extLst>
          </p:cNvPr>
          <p:cNvSpPr txBox="1"/>
          <p:nvPr/>
        </p:nvSpPr>
        <p:spPr>
          <a:xfrm>
            <a:off x="8123076" y="1529749"/>
            <a:ext cx="10919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ניטור ביטחוני</a:t>
            </a:r>
            <a:endParaRPr kumimoji="0" lang="en-I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6776A7D-6735-144A-BDB9-811B775A84AA}"/>
              </a:ext>
            </a:extLst>
          </p:cNvPr>
          <p:cNvSpPr txBox="1"/>
          <p:nvPr/>
        </p:nvSpPr>
        <p:spPr>
          <a:xfrm>
            <a:off x="1369032" y="6151616"/>
            <a:ext cx="1130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שרתי יישומים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1651865-DEC8-7649-AAD7-8F130F197F58}"/>
              </a:ext>
            </a:extLst>
          </p:cNvPr>
          <p:cNvSpPr txBox="1"/>
          <p:nvPr/>
        </p:nvSpPr>
        <p:spPr>
          <a:xfrm>
            <a:off x="6562992" y="2752192"/>
            <a:ext cx="19479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תשתית אמזון/גוגל נפרדת</a:t>
            </a:r>
            <a:endParaRPr kumimoji="0" lang="en-I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F2FFBDF-E18C-FE45-B425-74DE5334ABD6}"/>
              </a:ext>
            </a:extLst>
          </p:cNvPr>
          <p:cNvSpPr txBox="1"/>
          <p:nvPr/>
        </p:nvSpPr>
        <p:spPr>
          <a:xfrm>
            <a:off x="4205899" y="4961398"/>
            <a:ext cx="9541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סינכרון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D </a:t>
            </a:r>
            <a:endParaRPr kumimoji="0" lang="en-I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E35C5A1-AE43-B64B-AB6A-F8B6E92479E1}"/>
              </a:ext>
            </a:extLst>
          </p:cNvPr>
          <p:cNvSpPr txBox="1"/>
          <p:nvPr/>
        </p:nvSpPr>
        <p:spPr>
          <a:xfrm>
            <a:off x="5506471" y="3477733"/>
            <a:ext cx="32833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ייעודי  לכל משתמש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06A36E8-6AD0-4843-8B08-48FC337FA317}"/>
              </a:ext>
            </a:extLst>
          </p:cNvPr>
          <p:cNvCxnSpPr/>
          <p:nvPr/>
        </p:nvCxnSpPr>
        <p:spPr>
          <a:xfrm>
            <a:off x="1347079" y="4942055"/>
            <a:ext cx="2723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A8ABF800-2A91-5E42-B967-3C29BDA01E94}"/>
              </a:ext>
            </a:extLst>
          </p:cNvPr>
          <p:cNvCxnSpPr/>
          <p:nvPr/>
        </p:nvCxnSpPr>
        <p:spPr>
          <a:xfrm>
            <a:off x="8719886" y="2272945"/>
            <a:ext cx="0" cy="1134472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0E54464D-D4D9-494D-B85E-934AD342690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8082" y="2663561"/>
            <a:ext cx="829006" cy="1149017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108637AD-D3B8-804C-B0F6-C66B0331A7CD}"/>
              </a:ext>
            </a:extLst>
          </p:cNvPr>
          <p:cNvSpPr txBox="1"/>
          <p:nvPr/>
        </p:nvSpPr>
        <p:spPr>
          <a:xfrm>
            <a:off x="46790" y="2300576"/>
            <a:ext cx="16644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יכולת עבודה באמצעות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phone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AA21570-636F-D849-85D0-0563EFB87193}"/>
              </a:ext>
            </a:extLst>
          </p:cNvPr>
          <p:cNvCxnSpPr>
            <a:cxnSpLocks/>
          </p:cNvCxnSpPr>
          <p:nvPr/>
        </p:nvCxnSpPr>
        <p:spPr>
          <a:xfrm>
            <a:off x="1342652" y="3235130"/>
            <a:ext cx="497163" cy="994141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2502548-708D-D547-A6E3-4F11DA96824F}"/>
              </a:ext>
            </a:extLst>
          </p:cNvPr>
          <p:cNvCxnSpPr/>
          <p:nvPr/>
        </p:nvCxnSpPr>
        <p:spPr>
          <a:xfrm>
            <a:off x="1381920" y="2959526"/>
            <a:ext cx="543622" cy="0"/>
          </a:xfrm>
          <a:prstGeom prst="straightConnector1">
            <a:avLst/>
          </a:prstGeom>
          <a:ln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FE17F29-9CD5-6749-9AA7-8A741D327ED5}"/>
              </a:ext>
            </a:extLst>
          </p:cNvPr>
          <p:cNvSpPr txBox="1"/>
          <p:nvPr/>
        </p:nvSpPr>
        <p:spPr>
          <a:xfrm>
            <a:off x="1263906" y="3811785"/>
            <a:ext cx="4386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P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B5FA6E2A-48E5-C04F-A106-C2D9F4C991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10671" y="2683923"/>
            <a:ext cx="237714" cy="271077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CF22B901-04F2-3112-AD59-913F3040DD53}"/>
              </a:ext>
            </a:extLst>
          </p:cNvPr>
          <p:cNvSpPr txBox="1">
            <a:spLocks/>
          </p:cNvSpPr>
          <p:nvPr/>
        </p:nvSpPr>
        <p:spPr>
          <a:xfrm>
            <a:off x="2499470" y="447291"/>
            <a:ext cx="10933350" cy="3323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 Light" panose="020F0302020204030204"/>
                <a:ea typeface="+mj-ea"/>
                <a:cs typeface="Times New Roman" panose="02020603050405020304" pitchFamily="18" charset="0"/>
                <a:sym typeface="Trebuchet MS" panose="020B0603020202020204" pitchFamily="34" charset="0"/>
              </a:rPr>
              <a:t>חלופה א - קישור משתמשים לאינטרנט באמצעות חווה שחורה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6319B42-523E-ECF0-3345-44F4085275B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1428" y="3046138"/>
            <a:ext cx="359198" cy="3592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E275E75-01FE-D627-DEC4-24F9A2F239F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5786" y="3028076"/>
            <a:ext cx="607290" cy="363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615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55" name="Shape 2955"/>
          <p:cNvGrpSpPr/>
          <p:nvPr/>
        </p:nvGrpSpPr>
        <p:grpSpPr>
          <a:xfrm>
            <a:off x="9025123" y="768717"/>
            <a:ext cx="2553258" cy="2600336"/>
            <a:chOff x="5192873" y="667349"/>
            <a:chExt cx="2774750" cy="3729552"/>
          </a:xfrm>
        </p:grpSpPr>
        <p:sp>
          <p:nvSpPr>
            <p:cNvPr id="2956" name="Shape 2956"/>
            <p:cNvSpPr/>
            <p:nvPr/>
          </p:nvSpPr>
          <p:spPr>
            <a:xfrm>
              <a:off x="5192873" y="667349"/>
              <a:ext cx="2774750" cy="3729552"/>
            </a:xfrm>
            <a:prstGeom prst="roundRect">
              <a:avLst>
                <a:gd name="adj" fmla="val 399"/>
              </a:avLst>
            </a:prstGeom>
            <a:solidFill>
              <a:srgbClr val="F6F6F6"/>
            </a:solidFill>
            <a:ln>
              <a:noFill/>
            </a:ln>
          </p:spPr>
          <p:txBody>
            <a:bodyPr lIns="121900" tIns="121900" rIns="121900" bIns="121900" anchor="ctr" anchorCtr="0">
              <a:noAutofit/>
            </a:bodyPr>
            <a:lstStyle/>
            <a:p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8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957" name="Shape 295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5325526" y="758952"/>
              <a:ext cx="1417320" cy="18093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74" name="Shape 2974"/>
          <p:cNvSpPr txBox="1"/>
          <p:nvPr/>
        </p:nvSpPr>
        <p:spPr>
          <a:xfrm>
            <a:off x="5515192" y="3324021"/>
            <a:ext cx="2895620" cy="3592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21666"/>
              </a:lnSpc>
              <a:spcBef>
                <a:spcPts val="0"/>
              </a:spcBef>
              <a:spcAft>
                <a:spcPts val="0"/>
              </a:spcAft>
              <a:buClr>
                <a:srgbClr val="757575"/>
              </a:buClr>
              <a:buSzPct val="25000"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757575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BF24516F-5AB8-D941-911B-44764B3C40FD}"/>
              </a:ext>
            </a:extLst>
          </p:cNvPr>
          <p:cNvSpPr txBox="1">
            <a:spLocks/>
          </p:cNvSpPr>
          <p:nvPr/>
        </p:nvSpPr>
        <p:spPr>
          <a:xfrm>
            <a:off x="1331294" y="178341"/>
            <a:ext cx="10933350" cy="3323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 Light" panose="020F0302020204030204"/>
                <a:ea typeface="+mj-ea"/>
                <a:cs typeface="Times New Roman" panose="02020603050405020304" pitchFamily="18" charset="0"/>
                <a:sym typeface="Trebuchet MS" panose="020B0603020202020204" pitchFamily="34" charset="0"/>
              </a:rPr>
              <a:t>חלופה ב - קישור משתמשים ישירות לתשתיות ענן ללא חווה שחורה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7" name="Picture 2" descr="Google Workspace is bringing some big changes to your favourite apps |  TechRadar">
            <a:extLst>
              <a:ext uri="{FF2B5EF4-FFF2-40B4-BE49-F238E27FC236}">
                <a16:creationId xmlns:a16="http://schemas.microsoft.com/office/drawing/2014/main" id="{C2BF3FAA-1384-F949-AB41-8A5AED0D6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6457" y="1522877"/>
            <a:ext cx="1000282" cy="689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2" descr="ICON_Desktop_Q308">
            <a:extLst>
              <a:ext uri="{FF2B5EF4-FFF2-40B4-BE49-F238E27FC236}">
                <a16:creationId xmlns:a16="http://schemas.microsoft.com/office/drawing/2014/main" id="{91F0935A-7A9B-4942-9BBB-FFF4AF0A0F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727" y="2908463"/>
            <a:ext cx="963291" cy="1025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13E8BF6F-95AA-D048-8DB3-49F1679D6B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3619" y="1164616"/>
            <a:ext cx="829006" cy="1149017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D9843352-23D1-164A-822D-10DB951105F4}"/>
              </a:ext>
            </a:extLst>
          </p:cNvPr>
          <p:cNvSpPr txBox="1"/>
          <p:nvPr/>
        </p:nvSpPr>
        <p:spPr>
          <a:xfrm>
            <a:off x="4481767" y="827089"/>
            <a:ext cx="40377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שימוש ביכולות הזדהות של כל אחד מספקי הענן בנפרד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endParaRPr kumimoji="0" lang="en-I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BA9EF47-3399-3246-919A-D454437D55D4}"/>
              </a:ext>
            </a:extLst>
          </p:cNvPr>
          <p:cNvSpPr txBox="1"/>
          <p:nvPr/>
        </p:nvSpPr>
        <p:spPr>
          <a:xfrm>
            <a:off x="-297971" y="2336983"/>
            <a:ext cx="25226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גלישה באמצעות טלפון חכם 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endParaRPr kumimoji="0" lang="en-I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635800C-04EC-5D29-E675-5976A838D23B}"/>
              </a:ext>
            </a:extLst>
          </p:cNvPr>
          <p:cNvGrpSpPr/>
          <p:nvPr/>
        </p:nvGrpSpPr>
        <p:grpSpPr>
          <a:xfrm>
            <a:off x="9084988" y="3822480"/>
            <a:ext cx="2449438" cy="2955772"/>
            <a:chOff x="2562225" y="1047233"/>
            <a:chExt cx="1751013" cy="2456330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C8658AA6-B1CD-F887-23F2-E0B567C6953E}"/>
                </a:ext>
              </a:extLst>
            </p:cNvPr>
            <p:cNvSpPr/>
            <p:nvPr/>
          </p:nvSpPr>
          <p:spPr>
            <a:xfrm>
              <a:off x="2562225" y="1250857"/>
              <a:ext cx="1751013" cy="2021873"/>
            </a:xfrm>
            <a:prstGeom prst="roundRect">
              <a:avLst>
                <a:gd name="adj" fmla="val 9818"/>
              </a:avLst>
            </a:prstGeom>
            <a:noFill/>
            <a:ln w="6350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A61E98A9-42BB-3685-D2E9-C5DBBC01AE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69875" y="3272731"/>
              <a:ext cx="1557337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Verdana" pitchFamily="34" charset="0"/>
                  <a:cs typeface="Helvetica Neue"/>
                </a:rPr>
                <a:t>AWS cloud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635D09F-3AF5-35B5-D73C-E0B820725F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55217" y="1047233"/>
              <a:ext cx="399410" cy="399410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00F847CC-5CB6-7DC1-E3F3-9239EF269E0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6999" y="805416"/>
            <a:ext cx="359198" cy="359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5C1ED5E-11B3-5EDF-9F50-121E97740A8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4472" y="4253788"/>
            <a:ext cx="764253" cy="45690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F543E78-3058-B2F4-E25B-CA614921D462}"/>
              </a:ext>
            </a:extLst>
          </p:cNvPr>
          <p:cNvSpPr/>
          <p:nvPr/>
        </p:nvSpPr>
        <p:spPr>
          <a:xfrm>
            <a:off x="9669711" y="2454672"/>
            <a:ext cx="9206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ctive Directory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295B47-C7BA-C727-7E11-704135F7EC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46515" y="2492032"/>
            <a:ext cx="436115" cy="29074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CE03D7C-2E72-F419-DC06-ACE2144D62A0}"/>
              </a:ext>
            </a:extLst>
          </p:cNvPr>
          <p:cNvSpPr/>
          <p:nvPr/>
        </p:nvSpPr>
        <p:spPr>
          <a:xfrm>
            <a:off x="9746539" y="5374304"/>
            <a:ext cx="9206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353535"/>
                    </a:gs>
                    <a:gs pos="30000">
                      <a:srgbClr val="353535"/>
                    </a:gs>
                  </a:gsLst>
                  <a:lin ang="5400000" scaled="0"/>
                </a:gra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ctive Directory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5F2B250-AEB0-F0EB-B76B-86C55F116A0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35233" y="5386500"/>
            <a:ext cx="436115" cy="2907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7F828DB-71C6-31A7-D239-520488AE02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570" y="4766166"/>
            <a:ext cx="530055" cy="49263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8046406-2D8A-4712-883A-2BB69D8FF757}"/>
              </a:ext>
            </a:extLst>
          </p:cNvPr>
          <p:cNvSpPr txBox="1"/>
          <p:nvPr/>
        </p:nvSpPr>
        <p:spPr>
          <a:xfrm>
            <a:off x="10500255" y="5314277"/>
            <a:ext cx="943550" cy="15544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WS Shield</a:t>
            </a:r>
          </a:p>
        </p:txBody>
      </p:sp>
      <p:sp>
        <p:nvSpPr>
          <p:cNvPr id="15" name="Shape 354">
            <a:extLst>
              <a:ext uri="{FF2B5EF4-FFF2-40B4-BE49-F238E27FC236}">
                <a16:creationId xmlns:a16="http://schemas.microsoft.com/office/drawing/2014/main" id="{F242A93E-0879-9498-5827-D2F57BFA1381}"/>
              </a:ext>
            </a:extLst>
          </p:cNvPr>
          <p:cNvSpPr txBox="1"/>
          <p:nvPr/>
        </p:nvSpPr>
        <p:spPr>
          <a:xfrm>
            <a:off x="9235835" y="2211883"/>
            <a:ext cx="599100" cy="2502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25000"/>
              <a:buFont typeface="Open Sans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loud IAM</a:t>
            </a:r>
          </a:p>
        </p:txBody>
      </p:sp>
      <p:pic>
        <p:nvPicPr>
          <p:cNvPr id="16" name="Shape 358" descr="Cloud-IAM_256px.png">
            <a:extLst>
              <a:ext uri="{FF2B5EF4-FFF2-40B4-BE49-F238E27FC236}">
                <a16:creationId xmlns:a16="http://schemas.microsoft.com/office/drawing/2014/main" id="{B618233C-10D2-9464-3100-1817EF5F2609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 t="5092" b="5092"/>
          <a:stretch/>
        </p:blipFill>
        <p:spPr>
          <a:xfrm>
            <a:off x="9270185" y="1657191"/>
            <a:ext cx="530400" cy="4764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Shape 354">
            <a:extLst>
              <a:ext uri="{FF2B5EF4-FFF2-40B4-BE49-F238E27FC236}">
                <a16:creationId xmlns:a16="http://schemas.microsoft.com/office/drawing/2014/main" id="{837AED06-2EA8-BDAD-C49B-3B68AFC065AF}"/>
              </a:ext>
            </a:extLst>
          </p:cNvPr>
          <p:cNvSpPr txBox="1"/>
          <p:nvPr/>
        </p:nvSpPr>
        <p:spPr>
          <a:xfrm>
            <a:off x="9314391" y="5142399"/>
            <a:ext cx="599100" cy="2502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25000"/>
              <a:buFont typeface="Open Sans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loud IAM</a:t>
            </a:r>
          </a:p>
        </p:txBody>
      </p:sp>
      <p:pic>
        <p:nvPicPr>
          <p:cNvPr id="18" name="Shape 358" descr="Cloud-IAM_256px.png">
            <a:extLst>
              <a:ext uri="{FF2B5EF4-FFF2-40B4-BE49-F238E27FC236}">
                <a16:creationId xmlns:a16="http://schemas.microsoft.com/office/drawing/2014/main" id="{74297C95-1AA2-A833-B698-370353098132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 t="5092" b="5092"/>
          <a:stretch/>
        </p:blipFill>
        <p:spPr>
          <a:xfrm>
            <a:off x="9348741" y="4587707"/>
            <a:ext cx="530400" cy="4764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Shape 357">
            <a:extLst>
              <a:ext uri="{FF2B5EF4-FFF2-40B4-BE49-F238E27FC236}">
                <a16:creationId xmlns:a16="http://schemas.microsoft.com/office/drawing/2014/main" id="{2A89706D-2607-96EF-6654-BCB71A5DA79C}"/>
              </a:ext>
            </a:extLst>
          </p:cNvPr>
          <p:cNvSpPr txBox="1"/>
          <p:nvPr/>
        </p:nvSpPr>
        <p:spPr>
          <a:xfrm>
            <a:off x="10584026" y="2840929"/>
            <a:ext cx="950400" cy="2502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8080"/>
              </a:buClr>
              <a:buSzPct val="25000"/>
              <a:buFont typeface="Open Sans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Cloud Platform Security</a:t>
            </a:r>
          </a:p>
        </p:txBody>
      </p:sp>
      <p:pic>
        <p:nvPicPr>
          <p:cNvPr id="20" name="Shape 361" descr="Generic-GCP_256px.png">
            <a:extLst>
              <a:ext uri="{FF2B5EF4-FFF2-40B4-BE49-F238E27FC236}">
                <a16:creationId xmlns:a16="http://schemas.microsoft.com/office/drawing/2014/main" id="{8DA76769-7606-2BD0-07B7-226823DC5CC4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 t="5092" b="5092"/>
          <a:stretch/>
        </p:blipFill>
        <p:spPr>
          <a:xfrm>
            <a:off x="10791583" y="2345134"/>
            <a:ext cx="530400" cy="476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Picture 27" descr="ICON_Cloud_Q308">
            <a:extLst>
              <a:ext uri="{FF2B5EF4-FFF2-40B4-BE49-F238E27FC236}">
                <a16:creationId xmlns:a16="http://schemas.microsoft.com/office/drawing/2014/main" id="{AC69A75D-B914-F98A-BABC-74D8555A9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824" y="1957434"/>
            <a:ext cx="4133872" cy="2630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2FE8890-7B0E-EE79-3B06-3F5AA1440FE5}"/>
              </a:ext>
            </a:extLst>
          </p:cNvPr>
          <p:cNvCxnSpPr>
            <a:cxnSpLocks/>
          </p:cNvCxnSpPr>
          <p:nvPr/>
        </p:nvCxnSpPr>
        <p:spPr>
          <a:xfrm flipV="1">
            <a:off x="6268720" y="1941689"/>
            <a:ext cx="2989626" cy="829861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3EB36CBE-455D-CC09-0C86-08329FDE338E}"/>
              </a:ext>
            </a:extLst>
          </p:cNvPr>
          <p:cNvCxnSpPr>
            <a:cxnSpLocks/>
          </p:cNvCxnSpPr>
          <p:nvPr/>
        </p:nvCxnSpPr>
        <p:spPr>
          <a:xfrm>
            <a:off x="6706281" y="3928248"/>
            <a:ext cx="2706895" cy="899057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Shape 2987">
            <a:extLst>
              <a:ext uri="{FF2B5EF4-FFF2-40B4-BE49-F238E27FC236}">
                <a16:creationId xmlns:a16="http://schemas.microsoft.com/office/drawing/2014/main" id="{F9B606E7-4EF1-0F35-D204-E82C7E9A7204}"/>
              </a:ext>
            </a:extLst>
          </p:cNvPr>
          <p:cNvGrpSpPr/>
          <p:nvPr/>
        </p:nvGrpSpPr>
        <p:grpSpPr>
          <a:xfrm>
            <a:off x="9326171" y="5821028"/>
            <a:ext cx="1125200" cy="509600"/>
            <a:chOff x="9308484" y="4062689"/>
            <a:chExt cx="843900" cy="382200"/>
          </a:xfrm>
        </p:grpSpPr>
        <p:sp>
          <p:nvSpPr>
            <p:cNvPr id="31" name="Shape 2976">
              <a:extLst>
                <a:ext uri="{FF2B5EF4-FFF2-40B4-BE49-F238E27FC236}">
                  <a16:creationId xmlns:a16="http://schemas.microsoft.com/office/drawing/2014/main" id="{53E51FD8-C464-C167-8CA7-37FBFD8C504C}"/>
                </a:ext>
              </a:extLst>
            </p:cNvPr>
            <p:cNvSpPr/>
            <p:nvPr/>
          </p:nvSpPr>
          <p:spPr>
            <a:xfrm>
              <a:off x="9308484" y="4062689"/>
              <a:ext cx="843900" cy="382200"/>
            </a:xfrm>
            <a:prstGeom prst="roundRect">
              <a:avLst>
                <a:gd name="adj" fmla="val 1674"/>
              </a:avLst>
            </a:prstGeom>
            <a:solidFill>
              <a:schemeClr val="lt1"/>
            </a:solidFill>
            <a:ln>
              <a:noFill/>
            </a:ln>
            <a:effectLst>
              <a:outerShdw blurRad="19050" dist="6350" dir="5400000" algn="ctr" rotWithShape="0">
                <a:schemeClr val="dk1">
                  <a:alpha val="44710"/>
                </a:schemeClr>
              </a:outerShdw>
            </a:effectLst>
          </p:spPr>
          <p:txBody>
            <a:bodyPr lIns="573000" tIns="97533" rIns="60933" bIns="97533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1428"/>
                </a:lnSpc>
                <a:spcBef>
                  <a:spcPts val="267"/>
                </a:spcBef>
                <a:spcAft>
                  <a:spcPts val="0"/>
                </a:spcAft>
                <a:buClr>
                  <a:srgbClr val="757575"/>
                </a:buClr>
                <a:buSzPct val="25000"/>
                <a:buFontTx/>
                <a:buNone/>
                <a:tabLst/>
                <a:defRPr/>
              </a:pPr>
              <a:r>
                <a:rPr kumimoji="0" 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  <a:sym typeface="Roboto"/>
                </a:rPr>
                <a:t>Cloud</a:t>
              </a:r>
              <a:br>
                <a:rPr kumimoji="0" 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  <a:sym typeface="Roboto"/>
                </a:rPr>
              </a:br>
              <a:r>
                <a:rPr kumimoji="0" 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  <a:sym typeface="Roboto"/>
                </a:rPr>
                <a:t>Storage</a:t>
              </a:r>
            </a:p>
          </p:txBody>
        </p:sp>
        <p:pic>
          <p:nvPicPr>
            <p:cNvPr id="32" name="Shape 2988" descr="Cloud-Storage.png">
              <a:extLst>
                <a:ext uri="{FF2B5EF4-FFF2-40B4-BE49-F238E27FC236}">
                  <a16:creationId xmlns:a16="http://schemas.microsoft.com/office/drawing/2014/main" id="{C5A236C0-0A61-F60B-7B1E-94AA60CF89D4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 t="5076" b="5076"/>
            <a:stretch/>
          </p:blipFill>
          <p:spPr>
            <a:xfrm>
              <a:off x="9403347" y="4151442"/>
              <a:ext cx="274200" cy="2466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3" name="Shape 2953">
            <a:extLst>
              <a:ext uri="{FF2B5EF4-FFF2-40B4-BE49-F238E27FC236}">
                <a16:creationId xmlns:a16="http://schemas.microsoft.com/office/drawing/2014/main" id="{9AC498AA-DD41-E89A-5340-EB3490D916B5}"/>
              </a:ext>
            </a:extLst>
          </p:cNvPr>
          <p:cNvSpPr/>
          <p:nvPr/>
        </p:nvSpPr>
        <p:spPr>
          <a:xfrm>
            <a:off x="4139307" y="5436060"/>
            <a:ext cx="901923" cy="943829"/>
          </a:xfrm>
          <a:prstGeom prst="roundRect">
            <a:avLst>
              <a:gd name="adj" fmla="val 827"/>
            </a:avLst>
          </a:prstGeom>
          <a:solidFill>
            <a:srgbClr val="EFEBE9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srgbClr val="9E9E9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Shape 2953">
            <a:extLst>
              <a:ext uri="{FF2B5EF4-FFF2-40B4-BE49-F238E27FC236}">
                <a16:creationId xmlns:a16="http://schemas.microsoft.com/office/drawing/2014/main" id="{5FA74184-1BD7-438A-8234-0DFBF60D14FA}"/>
              </a:ext>
            </a:extLst>
          </p:cNvPr>
          <p:cNvSpPr/>
          <p:nvPr/>
        </p:nvSpPr>
        <p:spPr>
          <a:xfrm>
            <a:off x="5111845" y="5435715"/>
            <a:ext cx="901923" cy="943829"/>
          </a:xfrm>
          <a:prstGeom prst="roundRect">
            <a:avLst>
              <a:gd name="adj" fmla="val 827"/>
            </a:avLst>
          </a:prstGeom>
          <a:solidFill>
            <a:srgbClr val="EFEBE9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srgbClr val="9E9E9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Shape 2953">
            <a:extLst>
              <a:ext uri="{FF2B5EF4-FFF2-40B4-BE49-F238E27FC236}">
                <a16:creationId xmlns:a16="http://schemas.microsoft.com/office/drawing/2014/main" id="{490045DC-4354-95FD-E6FF-15D8A6A03DEF}"/>
              </a:ext>
            </a:extLst>
          </p:cNvPr>
          <p:cNvSpPr/>
          <p:nvPr/>
        </p:nvSpPr>
        <p:spPr>
          <a:xfrm>
            <a:off x="6069299" y="5436059"/>
            <a:ext cx="901923" cy="943829"/>
          </a:xfrm>
          <a:prstGeom prst="roundRect">
            <a:avLst>
              <a:gd name="adj" fmla="val 827"/>
            </a:avLst>
          </a:prstGeom>
          <a:solidFill>
            <a:srgbClr val="EFEBE9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srgbClr val="9E9E9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6" name="Shape 2979">
            <a:extLst>
              <a:ext uri="{FF2B5EF4-FFF2-40B4-BE49-F238E27FC236}">
                <a16:creationId xmlns:a16="http://schemas.microsoft.com/office/drawing/2014/main" id="{276EDCA0-DCE1-A34B-B53E-FE5CA65AAE26}"/>
              </a:ext>
            </a:extLst>
          </p:cNvPr>
          <p:cNvCxnSpPr>
            <a:cxnSpLocks/>
            <a:stCxn id="34" idx="0"/>
          </p:cNvCxnSpPr>
          <p:nvPr/>
        </p:nvCxnSpPr>
        <p:spPr>
          <a:xfrm rot="5400000" flipH="1" flipV="1">
            <a:off x="4996500" y="4869408"/>
            <a:ext cx="1132614" cy="1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3A7DF0"/>
            </a:solidFill>
            <a:prstDash val="solid"/>
            <a:round/>
            <a:headEnd type="triangle" w="med" len="med"/>
            <a:tailEnd type="triangle" w="med" len="med"/>
          </a:ln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CDC60ED0-49D5-CD51-EC17-3908AEC44451}"/>
              </a:ext>
            </a:extLst>
          </p:cNvPr>
          <p:cNvSpPr txBox="1"/>
          <p:nvPr/>
        </p:nvSpPr>
        <p:spPr>
          <a:xfrm>
            <a:off x="4336500" y="5470106"/>
            <a:ext cx="587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קמ״ג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3C3340A-EDAB-5636-CE87-F14DFBA02DF3}"/>
              </a:ext>
            </a:extLst>
          </p:cNvPr>
          <p:cNvSpPr txBox="1"/>
          <p:nvPr/>
        </p:nvSpPr>
        <p:spPr>
          <a:xfrm>
            <a:off x="5183346" y="5486138"/>
            <a:ext cx="5982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ממ״ג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DED4EA1-4367-60B2-3802-EB39C258656D}"/>
              </a:ext>
            </a:extLst>
          </p:cNvPr>
          <p:cNvSpPr txBox="1"/>
          <p:nvPr/>
        </p:nvSpPr>
        <p:spPr>
          <a:xfrm>
            <a:off x="6223182" y="5488767"/>
            <a:ext cx="5549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דביר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74D55600-B639-6D2E-23E7-E69AC206E9E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388074" y="5837047"/>
            <a:ext cx="394616" cy="4500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4DD8F894-7CD8-8F14-5EEB-1936C46BA32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339236" y="5817541"/>
            <a:ext cx="394616" cy="4500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ACE5B5BF-6E7E-B563-F0B4-A601FC88B33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77463" y="5837047"/>
            <a:ext cx="394616" cy="450000"/>
          </a:xfrm>
          <a:prstGeom prst="rect">
            <a:avLst/>
          </a:prstGeom>
        </p:spPr>
      </p:pic>
      <p:grpSp>
        <p:nvGrpSpPr>
          <p:cNvPr id="49" name="Shape 2987">
            <a:extLst>
              <a:ext uri="{FF2B5EF4-FFF2-40B4-BE49-F238E27FC236}">
                <a16:creationId xmlns:a16="http://schemas.microsoft.com/office/drawing/2014/main" id="{B8C8DFF9-5BC1-55D3-A3A4-8066F080A246}"/>
              </a:ext>
            </a:extLst>
          </p:cNvPr>
          <p:cNvGrpSpPr/>
          <p:nvPr/>
        </p:nvGrpSpPr>
        <p:grpSpPr>
          <a:xfrm>
            <a:off x="9176552" y="2853953"/>
            <a:ext cx="1125200" cy="509600"/>
            <a:chOff x="7007548" y="3653429"/>
            <a:chExt cx="843900" cy="382200"/>
          </a:xfrm>
        </p:grpSpPr>
        <p:sp>
          <p:nvSpPr>
            <p:cNvPr id="50" name="Shape 2976">
              <a:extLst>
                <a:ext uri="{FF2B5EF4-FFF2-40B4-BE49-F238E27FC236}">
                  <a16:creationId xmlns:a16="http://schemas.microsoft.com/office/drawing/2014/main" id="{1BE4BD0C-4C2B-39A8-068F-C1516967F8AB}"/>
                </a:ext>
              </a:extLst>
            </p:cNvPr>
            <p:cNvSpPr/>
            <p:nvPr/>
          </p:nvSpPr>
          <p:spPr>
            <a:xfrm>
              <a:off x="7007548" y="3653429"/>
              <a:ext cx="843900" cy="382200"/>
            </a:xfrm>
            <a:prstGeom prst="roundRect">
              <a:avLst>
                <a:gd name="adj" fmla="val 1674"/>
              </a:avLst>
            </a:prstGeom>
            <a:solidFill>
              <a:schemeClr val="lt1"/>
            </a:solidFill>
            <a:ln>
              <a:noFill/>
            </a:ln>
            <a:effectLst>
              <a:outerShdw blurRad="19050" dist="6350" dir="5400000" algn="ctr" rotWithShape="0">
                <a:schemeClr val="dk1">
                  <a:alpha val="44710"/>
                </a:schemeClr>
              </a:outerShdw>
            </a:effectLst>
          </p:spPr>
          <p:txBody>
            <a:bodyPr lIns="573000" tIns="97533" rIns="60933" bIns="97533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1428"/>
                </a:lnSpc>
                <a:spcBef>
                  <a:spcPts val="267"/>
                </a:spcBef>
                <a:spcAft>
                  <a:spcPts val="0"/>
                </a:spcAft>
                <a:buClr>
                  <a:srgbClr val="757575"/>
                </a:buClr>
                <a:buSzPct val="25000"/>
                <a:buFontTx/>
                <a:buNone/>
                <a:tabLst/>
                <a:defRPr/>
              </a:pPr>
              <a:r>
                <a:rPr kumimoji="0" 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  <a:sym typeface="Roboto"/>
                </a:rPr>
                <a:t>Cloud</a:t>
              </a:r>
              <a:br>
                <a:rPr kumimoji="0" 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  <a:sym typeface="Roboto"/>
                </a:rPr>
              </a:br>
              <a:r>
                <a:rPr kumimoji="0" 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757575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  <a:sym typeface="Roboto"/>
                </a:rPr>
                <a:t>Storage</a:t>
              </a:r>
            </a:p>
          </p:txBody>
        </p:sp>
        <p:pic>
          <p:nvPicPr>
            <p:cNvPr id="52" name="Shape 2988" descr="Cloud-Storage.png">
              <a:extLst>
                <a:ext uri="{FF2B5EF4-FFF2-40B4-BE49-F238E27FC236}">
                  <a16:creationId xmlns:a16="http://schemas.microsoft.com/office/drawing/2014/main" id="{834B5960-402A-EDE9-D28A-2716BC78922B}"/>
                </a:ext>
              </a:extLst>
            </p:cNvPr>
            <p:cNvPicPr preferRelativeResize="0"/>
            <p:nvPr/>
          </p:nvPicPr>
          <p:blipFill rotWithShape="1">
            <a:blip r:embed="rId15">
              <a:alphaModFix/>
            </a:blip>
            <a:srcRect t="5076" b="5076"/>
            <a:stretch/>
          </p:blipFill>
          <p:spPr>
            <a:xfrm>
              <a:off x="7051816" y="3723643"/>
              <a:ext cx="274200" cy="246600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54" name="Shape 2979">
            <a:extLst>
              <a:ext uri="{FF2B5EF4-FFF2-40B4-BE49-F238E27FC236}">
                <a16:creationId xmlns:a16="http://schemas.microsoft.com/office/drawing/2014/main" id="{64131D11-2C58-6827-CA2A-C698F3AC9F9E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973801" y="4917945"/>
            <a:ext cx="1132614" cy="1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3A7DF0"/>
            </a:solidFill>
            <a:prstDash val="solid"/>
            <a:round/>
            <a:headEnd type="triangle" w="med" len="med"/>
            <a:tailEnd type="triangle" w="med" len="med"/>
          </a:ln>
        </p:spPr>
      </p:cxnSp>
      <p:cxnSp>
        <p:nvCxnSpPr>
          <p:cNvPr id="55" name="Shape 2979">
            <a:extLst>
              <a:ext uri="{FF2B5EF4-FFF2-40B4-BE49-F238E27FC236}">
                <a16:creationId xmlns:a16="http://schemas.microsoft.com/office/drawing/2014/main" id="{2E2BFFC6-6640-8014-F1C2-1194AF08691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777308" y="4919830"/>
            <a:ext cx="1132614" cy="1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3A7DF0"/>
            </a:solidFill>
            <a:prstDash val="solid"/>
            <a:round/>
            <a:headEnd type="triangle" w="med" len="med"/>
            <a:tailEnd type="triangle" w="med" len="med"/>
          </a:ln>
        </p:spPr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D0307263-3C91-4DE9-718C-B0B170C819C4}"/>
              </a:ext>
            </a:extLst>
          </p:cNvPr>
          <p:cNvCxnSpPr>
            <a:cxnSpLocks/>
          </p:cNvCxnSpPr>
          <p:nvPr/>
        </p:nvCxnSpPr>
        <p:spPr>
          <a:xfrm>
            <a:off x="1331294" y="1725522"/>
            <a:ext cx="2112550" cy="895221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47D37A4-55EA-2537-F6FF-6E531803E10E}"/>
              </a:ext>
            </a:extLst>
          </p:cNvPr>
          <p:cNvCxnSpPr>
            <a:cxnSpLocks/>
          </p:cNvCxnSpPr>
          <p:nvPr/>
        </p:nvCxnSpPr>
        <p:spPr>
          <a:xfrm flipV="1">
            <a:off x="2583835" y="4295478"/>
            <a:ext cx="1288173" cy="1140237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1947694B-EBB3-22F3-D8C1-3F5C563A8288}"/>
              </a:ext>
            </a:extLst>
          </p:cNvPr>
          <p:cNvSpPr txBox="1"/>
          <p:nvPr/>
        </p:nvSpPr>
        <p:spPr>
          <a:xfrm>
            <a:off x="3716398" y="3078994"/>
            <a:ext cx="21964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רשת אינטרנט 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EA1FE80A-DA4F-B70A-E3B0-2B0D985C947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7705" y="5451781"/>
            <a:ext cx="731520" cy="731520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BD7F04C0-7C21-4672-85FF-331F2E27AF6F}"/>
              </a:ext>
            </a:extLst>
          </p:cNvPr>
          <p:cNvSpPr txBox="1"/>
          <p:nvPr/>
        </p:nvSpPr>
        <p:spPr>
          <a:xfrm>
            <a:off x="1770713" y="6280034"/>
            <a:ext cx="1078992" cy="1554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Helvetica Neue"/>
              </a:rPr>
              <a:t>ניטור בטחוני לתשתיות אמזון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Helvetica Neue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67E8E230-398F-1D5D-01D5-10553343F25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939" y="5435715"/>
            <a:ext cx="731520" cy="731520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B51F2D26-51E4-4CBB-2C1C-7FD2D4C60C3F}"/>
              </a:ext>
            </a:extLst>
          </p:cNvPr>
          <p:cNvSpPr txBox="1"/>
          <p:nvPr/>
        </p:nvSpPr>
        <p:spPr>
          <a:xfrm>
            <a:off x="463947" y="6263968"/>
            <a:ext cx="1078992" cy="1554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Helvetica Neue"/>
              </a:rPr>
              <a:t>ניטור ביטחוני לתשתיות גוגל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Helvetica Neue"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B740B109-7453-4B28-426B-EC0DAB1C30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302" y="5497644"/>
            <a:ext cx="359198" cy="359200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FF64F84E-4F17-FF33-4135-B278EA82AC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6242" y="5566918"/>
            <a:ext cx="476758" cy="285029"/>
          </a:xfrm>
          <a:prstGeom prst="rect">
            <a:avLst/>
          </a:prstGeom>
        </p:spPr>
      </p:pic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7D16EEB1-B686-0762-1B5B-500D00B7A25A}"/>
              </a:ext>
            </a:extLst>
          </p:cNvPr>
          <p:cNvCxnSpPr>
            <a:cxnSpLocks/>
          </p:cNvCxnSpPr>
          <p:nvPr/>
        </p:nvCxnSpPr>
        <p:spPr>
          <a:xfrm flipV="1">
            <a:off x="1127985" y="4078508"/>
            <a:ext cx="1861056" cy="1357206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C104AB71-0ED7-B025-B860-D8B3FBD62CCA}"/>
              </a:ext>
            </a:extLst>
          </p:cNvPr>
          <p:cNvCxnSpPr>
            <a:cxnSpLocks/>
          </p:cNvCxnSpPr>
          <p:nvPr/>
        </p:nvCxnSpPr>
        <p:spPr>
          <a:xfrm>
            <a:off x="1445018" y="3432991"/>
            <a:ext cx="1505640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B0EBAD7D-B378-00E4-6577-ED9C0694A240}"/>
              </a:ext>
            </a:extLst>
          </p:cNvPr>
          <p:cNvSpPr txBox="1"/>
          <p:nvPr/>
        </p:nvSpPr>
        <p:spPr>
          <a:xfrm>
            <a:off x="-106844" y="3935517"/>
            <a:ext cx="25226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גלישה באמצעות עמדת לקוח רזה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endParaRPr kumimoji="0" lang="en-I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699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6</Words>
  <Application>Microsoft Office PowerPoint</Application>
  <PresentationFormat>מסך רחב</PresentationFormat>
  <Paragraphs>43</Paragraphs>
  <Slides>2</Slides>
  <Notes>2</Notes>
  <HiddenSlides>0</HiddenSlides>
  <MMClips>0</MMClips>
  <ScaleCrop>false</ScaleCrop>
  <HeadingPairs>
    <vt:vector size="4" baseType="variant">
      <vt:variant>
        <vt:lpstr>ערכת נושא</vt:lpstr>
      </vt:variant>
      <vt:variant>
        <vt:i4>1</vt:i4>
      </vt:variant>
      <vt:variant>
        <vt:lpstr>כותרות שקופיות</vt:lpstr>
      </vt:variant>
      <vt:variant>
        <vt:i4>2</vt:i4>
      </vt:variant>
    </vt:vector>
  </HeadingPairs>
  <TitlesOfParts>
    <vt:vector size="3" baseType="lpstr">
      <vt:lpstr>1_Office Theme</vt:lpstr>
      <vt:lpstr>מצגת של PowerPoint‏</vt:lpstr>
      <vt:lpstr>מצגת של PowerPoint‏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ehuda, Eitan</dc:creator>
  <cp:lastModifiedBy>972529453127</cp:lastModifiedBy>
  <cp:revision>2</cp:revision>
  <dcterms:created xsi:type="dcterms:W3CDTF">2022-12-24T18:30:39Z</dcterms:created>
  <dcterms:modified xsi:type="dcterms:W3CDTF">2022-12-24T18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2-12-24T18:31:32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0e3eff7c-babd-495e-8c83-8d47447d6ede</vt:lpwstr>
  </property>
  <property fmtid="{D5CDD505-2E9C-101B-9397-08002B2CF9AE}" pid="8" name="MSIP_Label_b0d5c4f4-7a29-4385-b7a5-afbe2154ae6f_ContentBits">
    <vt:lpwstr>0</vt:lpwstr>
  </property>
</Properties>
</file>